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4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5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6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7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8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9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0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1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2.xml" ContentType="application/vnd.openxmlformats-officedocument.presentationml.notesSlide+xml"/>
  <Override PartName="/ppt/tags/tag5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7"/>
  </p:notesMasterIdLst>
  <p:sldIdLst>
    <p:sldId id="303" r:id="rId5"/>
    <p:sldId id="262" r:id="rId6"/>
    <p:sldId id="306" r:id="rId7"/>
    <p:sldId id="314" r:id="rId8"/>
    <p:sldId id="257" r:id="rId9"/>
    <p:sldId id="269" r:id="rId10"/>
    <p:sldId id="1356" r:id="rId11"/>
    <p:sldId id="1357" r:id="rId12"/>
    <p:sldId id="1358" r:id="rId13"/>
    <p:sldId id="291" r:id="rId14"/>
    <p:sldId id="274" r:id="rId15"/>
    <p:sldId id="300" r:id="rId16"/>
    <p:sldId id="1347" r:id="rId17"/>
    <p:sldId id="1348" r:id="rId18"/>
    <p:sldId id="1349" r:id="rId19"/>
    <p:sldId id="1350" r:id="rId20"/>
    <p:sldId id="1351" r:id="rId21"/>
    <p:sldId id="1352" r:id="rId22"/>
    <p:sldId id="1353" r:id="rId23"/>
    <p:sldId id="1354" r:id="rId24"/>
    <p:sldId id="1355" r:id="rId25"/>
    <p:sldId id="292" r:id="rId26"/>
  </p:sldIdLst>
  <p:sldSz cx="9631363" cy="7223125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356" userDrawn="1">
          <p15:clr>
            <a:srgbClr val="A4A3A4"/>
          </p15:clr>
        </p15:guide>
        <p15:guide id="3" orient="horz" pos="22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pelman, Dana Lea" initials="KDL" lastIdx="6" clrIdx="0">
    <p:extLst>
      <p:ext uri="{19B8F6BF-5375-455C-9EA6-DF929625EA0E}">
        <p15:presenceInfo xmlns:p15="http://schemas.microsoft.com/office/powerpoint/2012/main" userId="S::dkopelman@collegeboard.org::20979823-5b91-44f0-b53d-0aedd2b25df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DB00"/>
    <a:srgbClr val="F24516"/>
    <a:srgbClr val="C7C7C7"/>
    <a:srgbClr val="EAEAEA"/>
    <a:srgbClr val="F09E00"/>
    <a:srgbClr val="26A64E"/>
    <a:srgbClr val="F16B4E"/>
    <a:srgbClr val="2BBFF4"/>
    <a:srgbClr val="4BA7F8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4843" autoAdjust="0"/>
    <p:restoredTop sz="97474" autoAdjust="0"/>
  </p:normalViewPr>
  <p:slideViewPr>
    <p:cSldViewPr snapToGrid="0" showGuides="1">
      <p:cViewPr varScale="1">
        <p:scale>
          <a:sx n="106" d="100"/>
          <a:sy n="106" d="100"/>
        </p:scale>
        <p:origin x="536" y="184"/>
      </p:cViewPr>
      <p:guideLst>
        <p:guide pos="5356"/>
        <p:guide orient="horz" pos="2275"/>
      </p:guideLst>
    </p:cSldViewPr>
  </p:slideViewPr>
  <p:outlineViewPr>
    <p:cViewPr>
      <p:scale>
        <a:sx n="33" d="100"/>
        <a:sy n="33" d="100"/>
      </p:scale>
      <p:origin x="0" y="-31457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B0680C-5B48-460E-B481-2C9E1A1DFEF0}" type="datetimeFigureOut">
              <a:rPr lang="en-US" smtClean="0"/>
              <a:t>4/29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6AF150-6D2A-4DA1-BED8-20A773521BD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97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3112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4419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65187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30010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9857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2074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44457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25375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25955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0084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0465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53884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jpe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282400" y="358775"/>
            <a:ext cx="9098240" cy="6127886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0200" y="1618488"/>
            <a:ext cx="3814207" cy="621106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>
              <a:defRPr sz="345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0201" y="5333781"/>
            <a:ext cx="3814207" cy="563128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1500" b="1">
                <a:solidFill>
                  <a:schemeClr val="accent2"/>
                </a:solidFill>
                <a:latin typeface="+mj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reeform 17"/>
          <p:cNvSpPr/>
          <p:nvPr/>
        </p:nvSpPr>
        <p:spPr>
          <a:xfrm>
            <a:off x="4793068" y="366033"/>
            <a:ext cx="4587572" cy="6120629"/>
          </a:xfrm>
          <a:custGeom>
            <a:avLst/>
            <a:gdLst>
              <a:gd name="connsiteX0" fmla="*/ 2394783 w 6080760"/>
              <a:gd name="connsiteY0" fmla="*/ 0 h 6084855"/>
              <a:gd name="connsiteX1" fmla="*/ 3872619 w 6080760"/>
              <a:gd name="connsiteY1" fmla="*/ 0 h 6084855"/>
              <a:gd name="connsiteX2" fmla="*/ 4065568 w 6080760"/>
              <a:gd name="connsiteY2" fmla="*/ 49612 h 6084855"/>
              <a:gd name="connsiteX3" fmla="*/ 6013655 w 6080760"/>
              <a:gd name="connsiteY3" fmla="*/ 1805104 h 6084855"/>
              <a:gd name="connsiteX4" fmla="*/ 6080760 w 6080760"/>
              <a:gd name="connsiteY4" fmla="*/ 1980033 h 6084855"/>
              <a:gd name="connsiteX5" fmla="*/ 6080760 w 6080760"/>
              <a:gd name="connsiteY5" fmla="*/ 4099313 h 6084855"/>
              <a:gd name="connsiteX6" fmla="*/ 6021140 w 6080760"/>
              <a:gd name="connsiteY6" fmla="*/ 4262206 h 6084855"/>
              <a:gd name="connsiteX7" fmla="*/ 4065568 w 6080760"/>
              <a:gd name="connsiteY7" fmla="*/ 6035244 h 6084855"/>
              <a:gd name="connsiteX8" fmla="*/ 3882178 w 6080760"/>
              <a:gd name="connsiteY8" fmla="*/ 6084855 h 6084855"/>
              <a:gd name="connsiteX9" fmla="*/ 2394778 w 6080760"/>
              <a:gd name="connsiteY9" fmla="*/ 6084855 h 6084855"/>
              <a:gd name="connsiteX10" fmla="*/ 2201834 w 6080760"/>
              <a:gd name="connsiteY10" fmla="*/ 6035244 h 6084855"/>
              <a:gd name="connsiteX11" fmla="*/ 0 w 6080760"/>
              <a:gd name="connsiteY11" fmla="*/ 3042428 h 6084855"/>
              <a:gd name="connsiteX12" fmla="*/ 2201834 w 6080760"/>
              <a:gd name="connsiteY12" fmla="*/ 49612 h 6084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0" h="6084855">
                <a:moveTo>
                  <a:pt x="2394783" y="0"/>
                </a:moveTo>
                <a:lnTo>
                  <a:pt x="3872619" y="0"/>
                </a:lnTo>
                <a:lnTo>
                  <a:pt x="4065568" y="49612"/>
                </a:lnTo>
                <a:cubicBezTo>
                  <a:pt x="4942564" y="322387"/>
                  <a:pt x="5654401" y="970025"/>
                  <a:pt x="6013655" y="1805104"/>
                </a:cubicBezTo>
                <a:lnTo>
                  <a:pt x="6080760" y="1980033"/>
                </a:lnTo>
                <a:lnTo>
                  <a:pt x="6080760" y="4099313"/>
                </a:lnTo>
                <a:lnTo>
                  <a:pt x="6021140" y="4262206"/>
                </a:lnTo>
                <a:cubicBezTo>
                  <a:pt x="5664348" y="5105755"/>
                  <a:pt x="4948697" y="5760562"/>
                  <a:pt x="4065568" y="6035244"/>
                </a:cubicBezTo>
                <a:lnTo>
                  <a:pt x="3882178" y="6084855"/>
                </a:lnTo>
                <a:lnTo>
                  <a:pt x="2394778" y="6084855"/>
                </a:lnTo>
                <a:lnTo>
                  <a:pt x="2201834" y="6035244"/>
                </a:lnTo>
                <a:cubicBezTo>
                  <a:pt x="926204" y="5638482"/>
                  <a:pt x="0" y="4448618"/>
                  <a:pt x="0" y="3042428"/>
                </a:cubicBezTo>
                <a:cubicBezTo>
                  <a:pt x="0" y="1636239"/>
                  <a:pt x="926204" y="446375"/>
                  <a:pt x="2201834" y="49612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82401" y="6640450"/>
            <a:ext cx="3106468" cy="288925"/>
          </a:xfrm>
        </p:spPr>
        <p:txBody>
          <a:bodyPr lIns="0" bIns="45720" anchor="b"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47" name="Picture Placeholder 46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793068" y="358775"/>
            <a:ext cx="4587572" cy="6135058"/>
          </a:xfrm>
          <a:custGeom>
            <a:avLst/>
            <a:gdLst>
              <a:gd name="connsiteX0" fmla="*/ 2428341 w 6080761"/>
              <a:gd name="connsiteY0" fmla="*/ 0 h 6099200"/>
              <a:gd name="connsiteX1" fmla="*/ 3846583 w 6080761"/>
              <a:gd name="connsiteY1" fmla="*/ 0 h 6099200"/>
              <a:gd name="connsiteX2" fmla="*/ 4063129 w 6080761"/>
              <a:gd name="connsiteY2" fmla="*/ 58581 h 6099200"/>
              <a:gd name="connsiteX3" fmla="*/ 6017528 w 6080761"/>
              <a:gd name="connsiteY3" fmla="*/ 1830555 h 6099200"/>
              <a:gd name="connsiteX4" fmla="*/ 6080761 w 6080761"/>
              <a:gd name="connsiteY4" fmla="*/ 2003320 h 6099200"/>
              <a:gd name="connsiteX5" fmla="*/ 6080761 w 6080761"/>
              <a:gd name="connsiteY5" fmla="*/ 4095880 h 6099200"/>
              <a:gd name="connsiteX6" fmla="*/ 6017528 w 6080761"/>
              <a:gd name="connsiteY6" fmla="*/ 4268646 h 6099200"/>
              <a:gd name="connsiteX7" fmla="*/ 4063129 w 6080761"/>
              <a:gd name="connsiteY7" fmla="*/ 6040620 h 6099200"/>
              <a:gd name="connsiteX8" fmla="*/ 3846583 w 6080761"/>
              <a:gd name="connsiteY8" fmla="*/ 6099200 h 6099200"/>
              <a:gd name="connsiteX9" fmla="*/ 2428341 w 6080761"/>
              <a:gd name="connsiteY9" fmla="*/ 6099200 h 6099200"/>
              <a:gd name="connsiteX10" fmla="*/ 2200513 w 6080761"/>
              <a:gd name="connsiteY10" fmla="*/ 6040620 h 6099200"/>
              <a:gd name="connsiteX11" fmla="*/ 0 w 6080761"/>
              <a:gd name="connsiteY11" fmla="*/ 3049600 h 6099200"/>
              <a:gd name="connsiteX12" fmla="*/ 2200513 w 6080761"/>
              <a:gd name="connsiteY12" fmla="*/ 58581 h 609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1" h="6099200">
                <a:moveTo>
                  <a:pt x="2428341" y="0"/>
                </a:moveTo>
                <a:lnTo>
                  <a:pt x="3846583" y="0"/>
                </a:lnTo>
                <a:lnTo>
                  <a:pt x="4063129" y="58581"/>
                </a:lnTo>
                <a:cubicBezTo>
                  <a:pt x="4945729" y="333098"/>
                  <a:pt x="5660951" y="987512"/>
                  <a:pt x="6017528" y="1830555"/>
                </a:cubicBezTo>
                <a:lnTo>
                  <a:pt x="6080761" y="2003320"/>
                </a:lnTo>
                <a:lnTo>
                  <a:pt x="6080761" y="4095880"/>
                </a:lnTo>
                <a:lnTo>
                  <a:pt x="6017528" y="4268646"/>
                </a:lnTo>
                <a:cubicBezTo>
                  <a:pt x="5660951" y="5111689"/>
                  <a:pt x="4945728" y="5766103"/>
                  <a:pt x="4063129" y="6040620"/>
                </a:cubicBezTo>
                <a:lnTo>
                  <a:pt x="3846583" y="6099200"/>
                </a:lnTo>
                <a:lnTo>
                  <a:pt x="2428341" y="6099200"/>
                </a:lnTo>
                <a:lnTo>
                  <a:pt x="2200513" y="6040620"/>
                </a:lnTo>
                <a:cubicBezTo>
                  <a:pt x="925648" y="5644095"/>
                  <a:pt x="0" y="4454946"/>
                  <a:pt x="0" y="3049600"/>
                </a:cubicBezTo>
                <a:cubicBezTo>
                  <a:pt x="0" y="1644255"/>
                  <a:pt x="925648" y="455105"/>
                  <a:pt x="2200513" y="58581"/>
                </a:cubicBezTo>
                <a:close/>
              </a:path>
            </a:pathLst>
          </a:custGeom>
          <a:ln>
            <a:noFill/>
          </a:ln>
        </p:spPr>
        <p:txBody>
          <a:bodyPr wrap="square" lIns="274320" tIns="365760" anchor="ctr">
            <a:noAutofit/>
          </a:bodyPr>
          <a:lstStyle>
            <a:lvl1pPr marL="0" indent="0" algn="ctr">
              <a:buNone/>
              <a:defRPr sz="135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Brand Approved Picture for Cover</a:t>
            </a:r>
            <a:br>
              <a:rPr lang="en-US" dirty="0"/>
            </a:br>
            <a:r>
              <a:rPr lang="en-US" dirty="0"/>
              <a:t>(Square Pictures only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00116" y="939800"/>
            <a:ext cx="3358892" cy="452438"/>
          </a:xfrm>
        </p:spPr>
        <p:txBody>
          <a:bodyPr>
            <a:noAutofit/>
          </a:bodyPr>
          <a:lstStyle>
            <a:lvl1pPr marL="0" indent="0">
              <a:buNone/>
              <a:defRPr lang="en-US" sz="1200" b="0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Copy, paste and align top left of chosen program logo to this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970942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5C446E-963D-4FD5-8D0F-7023684091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493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A5C446E-963D-4FD5-8D0F-702368409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EA7837-D0E4-4EF5-9C2D-30957ADC4C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57798" y="430311"/>
            <a:ext cx="8915768" cy="642524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Insert Full Background Photo Photo To Highlight a Key Message</a:t>
            </a:r>
          </a:p>
        </p:txBody>
      </p:sp>
      <p:sp>
        <p:nvSpPr>
          <p:cNvPr id="5" name="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591984" y="737176"/>
            <a:ext cx="4597544" cy="412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CA" noProof="1"/>
              <a:t>This is a 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57798" y="455926"/>
            <a:ext cx="8915768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0243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lide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36116" y="184728"/>
            <a:ext cx="9359131" cy="6853668"/>
          </a:xfrm>
          <a:prstGeom prst="rect">
            <a:avLst/>
          </a:prstGeom>
          <a:solidFill>
            <a:schemeClr val="accent3">
              <a:alpha val="67000"/>
            </a:schemeClr>
          </a:solidFill>
        </p:spPr>
        <p:txBody>
          <a:bodyPr lIns="1920240" tIns="182880" rIns="1920240" bIns="182880" anchor="ctr" anchorCtr="0">
            <a:noAutofit/>
          </a:bodyPr>
          <a:lstStyle>
            <a:lvl1pPr algn="ctr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  <a:br>
              <a:rPr lang="en-US" dirty="0"/>
            </a:br>
            <a:r>
              <a:rPr lang="en-US" dirty="0"/>
              <a:t>(Use Format Background to Change Picture)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E8A6A2C-8C88-3241-8B6A-AC170FE03852}"/>
              </a:ext>
            </a:extLst>
          </p:cNvPr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08616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lide Solid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1721561"/>
            <a:ext cx="9631363" cy="3780000"/>
          </a:xfrm>
          <a:prstGeom prst="rect">
            <a:avLst/>
          </a:prstGeom>
        </p:spPr>
        <p:txBody>
          <a:bodyPr lIns="1920240" tIns="45720" rIns="1920240" bIns="45720" anchor="ctr" anchorCtr="0">
            <a:noAutofit/>
          </a:bodyPr>
          <a:lstStyle>
            <a:lvl1pPr algn="ctr">
              <a:defRPr sz="345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176921" y="2028307"/>
            <a:ext cx="1165442" cy="1211604"/>
            <a:chOff x="1422137" y="1996264"/>
            <a:chExt cx="1197131" cy="933450"/>
          </a:xfrm>
        </p:grpSpPr>
        <p:grpSp>
          <p:nvGrpSpPr>
            <p:cNvPr id="14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1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16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32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3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34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 rot="10800000">
            <a:off x="7288950" y="2157617"/>
            <a:ext cx="1165442" cy="1211604"/>
            <a:chOff x="1422137" y="1996264"/>
            <a:chExt cx="1197131" cy="933450"/>
          </a:xfrm>
        </p:grpSpPr>
        <p:grpSp>
          <p:nvGrpSpPr>
            <p:cNvPr id="20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2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5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3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27" name="Freeform 26"/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07801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01315" y="3110096"/>
            <a:ext cx="3599174" cy="621106"/>
          </a:xfrm>
          <a:prstGeom prst="rect">
            <a:avLst/>
          </a:prstGeom>
        </p:spPr>
        <p:txBody>
          <a:bodyPr lIns="0" tIns="45720" rIns="0" bIns="45720" anchor="ctr" anchorCtr="0">
            <a:noAutofit/>
          </a:bodyPr>
          <a:lstStyle>
            <a:lvl1pPr algn="ctr">
              <a:defRPr sz="4500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6936" y="6221651"/>
            <a:ext cx="1417492" cy="33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960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70337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2E46C0-B214-48D0-AD3A-E06942AE80EE}" type="datetimeFigureOut">
              <a:rPr lang="en-US" smtClean="0"/>
              <a:t>4/2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51FFA-257E-4D4F-B519-344AF5A800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216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2352" y="1182118"/>
            <a:ext cx="8186659" cy="2514718"/>
          </a:xfrm>
        </p:spPr>
        <p:txBody>
          <a:bodyPr anchor="b"/>
          <a:lstStyle>
            <a:lvl1pPr algn="ctr">
              <a:defRPr sz="631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3921" y="3793813"/>
            <a:ext cx="7223522" cy="1743916"/>
          </a:xfrm>
        </p:spPr>
        <p:txBody>
          <a:bodyPr/>
          <a:lstStyle>
            <a:lvl1pPr marL="0" indent="0" algn="ctr">
              <a:buNone/>
              <a:defRPr sz="2528"/>
            </a:lvl1pPr>
            <a:lvl2pPr marL="481523" indent="0" algn="ctr">
              <a:buNone/>
              <a:defRPr sz="2106"/>
            </a:lvl2pPr>
            <a:lvl3pPr marL="963046" indent="0" algn="ctr">
              <a:buNone/>
              <a:defRPr sz="1896"/>
            </a:lvl3pPr>
            <a:lvl4pPr marL="1444569" indent="0" algn="ctr">
              <a:buNone/>
              <a:defRPr sz="1685"/>
            </a:lvl4pPr>
            <a:lvl5pPr marL="1926092" indent="0" algn="ctr">
              <a:buNone/>
              <a:defRPr sz="1685"/>
            </a:lvl5pPr>
            <a:lvl6pPr marL="2407615" indent="0" algn="ctr">
              <a:buNone/>
              <a:defRPr sz="1685"/>
            </a:lvl6pPr>
            <a:lvl7pPr marL="2889138" indent="0" algn="ctr">
              <a:buNone/>
              <a:defRPr sz="1685"/>
            </a:lvl7pPr>
            <a:lvl8pPr marL="3370661" indent="0" algn="ctr">
              <a:buNone/>
              <a:defRPr sz="1685"/>
            </a:lvl8pPr>
            <a:lvl9pPr marL="3852184" indent="0" algn="ctr">
              <a:buNone/>
              <a:defRPr sz="1685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4B1B0-F328-4718-B5A2-F461E1F4E420}" type="datetimeFigureOut">
              <a:rPr lang="en-US" smtClean="0"/>
              <a:t>4/2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79494A-50D6-474B-82EF-BBB1132C88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910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414437" y="620397"/>
            <a:ext cx="8216926" cy="6602729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859069" y="924570"/>
            <a:ext cx="6510576" cy="1646102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 algn="l">
              <a:defRPr sz="4050" b="1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59069" y="6093208"/>
            <a:ext cx="5094108" cy="70440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2100" b="0">
                <a:solidFill>
                  <a:schemeClr val="accent3"/>
                </a:solidFill>
                <a:latin typeface="+mn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8070346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050">
                <a:solidFill>
                  <a:schemeClr val="accent3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7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191455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050">
                <a:solidFill>
                  <a:schemeClr val="tx2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Add presenter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14437" cy="620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987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CC2EEF-1F5A-44BA-A894-1FBB47676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621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CC2EEF-1F5A-44BA-A894-1FBB47676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F1EC3AF-05CF-414D-A56A-748443204B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3165955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Data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0F0CD4-F134-4393-85EE-F212B5E6FE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9422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0F0CD4-F134-4393-85EE-F212B5E6F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86CE6F-0238-4FA6-A98D-2A2671D6A0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81594" y="1229710"/>
            <a:ext cx="9068175" cy="3479450"/>
          </a:xfrm>
          <a:prstGeom prst="rect">
            <a:avLst/>
          </a:prstGeom>
          <a:solidFill>
            <a:srgbClr val="F8F8F8"/>
          </a:solidFill>
          <a:ln w="571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9151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a slidebar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EA66DD-47B6-41AF-856C-60DA6DFCF9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087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EA66DD-47B6-41AF-856C-60DA6DFCF9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D3A3A6-74B7-4401-98A3-0D4D473F5A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1672897" y="6585155"/>
            <a:ext cx="7676871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2898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1672897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672897" y="463763"/>
            <a:ext cx="7676871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47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C5B168-3E9E-4320-B0DB-444B32EA8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01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C5B168-3E9E-4320-B0DB-444B32EA8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6AC7A1-98DA-4510-AA81-E278E57ABE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3488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176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79053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2177966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6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5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94640" y="455926"/>
            <a:ext cx="463085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33475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0003678-DADB-422E-92E2-650549F8D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02328194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"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0003678-DADB-422E-92E2-650549F8D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22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281595" y="1278372"/>
            <a:ext cx="8929043" cy="46344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9"/>
    </p:custDataLst>
    <p:extLst>
      <p:ext uri="{BB962C8B-B14F-4D97-AF65-F5344CB8AC3E}">
        <p14:creationId xmlns:p14="http://schemas.microsoft.com/office/powerpoint/2010/main" val="601067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9" r:id="rId2"/>
    <p:sldLayoutId id="2147483662" r:id="rId3"/>
    <p:sldLayoutId id="2147483682" r:id="rId4"/>
    <p:sldLayoutId id="2147483690" r:id="rId5"/>
    <p:sldLayoutId id="2147483678" r:id="rId6"/>
    <p:sldLayoutId id="2147483679" r:id="rId7"/>
    <p:sldLayoutId id="2147483681" r:id="rId8"/>
    <p:sldLayoutId id="2147483680" r:id="rId9"/>
    <p:sldLayoutId id="2147483663" r:id="rId10"/>
    <p:sldLayoutId id="2147483664" r:id="rId11"/>
    <p:sldLayoutId id="2147483677" r:id="rId12"/>
    <p:sldLayoutId id="2147483691" r:id="rId13"/>
    <p:sldLayoutId id="2147483686" r:id="rId14"/>
    <p:sldLayoutId id="2147483692" r:id="rId15"/>
    <p:sldLayoutId id="2147483693" r:id="rId16"/>
  </p:sldLayoutIdLst>
  <p:txStyles>
    <p:titleStyle>
      <a:lvl1pPr algn="l" defTabSz="736001" rtl="0" eaLnBrk="1" latinLnBrk="0" hangingPunct="1"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597" marR="0" indent="-203597" algn="l" defTabSz="735806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35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431006" marR="0" indent="-89297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2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789385" marR="0" indent="-215504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2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090422" marR="0" indent="-157734" algn="l" defTabSz="73600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56002" indent="-184001" algn="l" defTabSz="736001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024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392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760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128003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600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68000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736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104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472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840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208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576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944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2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49.xml"/><Relationship Id="rId7" Type="http://schemas.openxmlformats.org/officeDocument/2006/relationships/image" Target="../media/image1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tatsmedic.com/youtube" TargetMode="External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8.jp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7.jp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51.xml"/><Relationship Id="rId7" Type="http://schemas.openxmlformats.org/officeDocument/2006/relationships/image" Target="../media/image1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53.xml"/><Relationship Id="rId7" Type="http://schemas.openxmlformats.org/officeDocument/2006/relationships/image" Target="../media/image1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collegeboard.org/ap-covid19-updates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10" Type="http://schemas.openxmlformats.org/officeDocument/2006/relationships/hyperlink" Target="https://apcoronavirusupdates.collegeboard.org/educators/course-schedule" TargetMode="External"/><Relationship Id="rId4" Type="http://schemas.openxmlformats.org/officeDocument/2006/relationships/slideLayout" Target="../slideLayouts/slideLayout10.xml"/><Relationship Id="rId9" Type="http://schemas.openxmlformats.org/officeDocument/2006/relationships/hyperlink" Target="https://apstudents.collegeboard.org/coronavirus-updates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2AB356-E41C-4551-A84F-B7149EE8C5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2AB356-E41C-4551-A84F-B7149EE8C5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5429A44-6B75-4960-BDC9-8697E7D0C8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902890"/>
            <a:ext cx="9630833" cy="541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2505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2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BFB8B97-E58A-403E-B8DD-C5B2B8F895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611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4150623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DEBRIEF AND SUMMAR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8099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Hopefully by now you are feeling more comfortable with how </a:t>
            </a:r>
            <a:r>
              <a:rPr lang="en-US" sz="2400" dirty="0">
                <a:solidFill>
                  <a:srgbClr val="1E1E1E"/>
                </a:solidFill>
                <a:latin typeface="Roboto"/>
              </a:rPr>
              <a:t>to use the Formula Sheet (and tables) given on the AP Statistics Exam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imilar to </a:t>
            </a:r>
            <a:r>
              <a:rPr lang="en-US" sz="2400" dirty="0">
                <a:solidFill>
                  <a:srgbClr val="1E1E1E"/>
                </a:solidFill>
                <a:latin typeface="Roboto"/>
              </a:rPr>
              <a:t>all problems in AP Statistic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you should be able to write a clear/concise solution in context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1251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2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6"/>
            <a:ext cx="8905698" cy="1044843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2002 Multiple Choice #24 Homework Problem </a:t>
            </a:r>
            <a:br>
              <a:rPr lang="en-US" b="1" dirty="0">
                <a:solidFill>
                  <a:schemeClr val="tx1"/>
                </a:solidFill>
              </a:rPr>
            </a:br>
            <a:r>
              <a:rPr lang="en-US" b="1" dirty="0">
                <a:solidFill>
                  <a:schemeClr val="tx1"/>
                </a:solidFill>
              </a:rPr>
              <a:t>Wednesday 04/29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655800"/>
            <a:ext cx="8905698" cy="470195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picture containing table&#10;&#10;Description automatically generated">
            <a:extLst>
              <a:ext uri="{FF2B5EF4-FFF2-40B4-BE49-F238E27FC236}">
                <a16:creationId xmlns:a16="http://schemas.microsoft.com/office/drawing/2014/main" id="{D94FF2D8-1198-F94A-BEC8-38160C2747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9389" y="2615792"/>
            <a:ext cx="8572584" cy="2781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1153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0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85800">
              <a:defRPr/>
            </a:pPr>
            <a:endParaRPr lang="en-US" sz="2700" dirty="0">
              <a:solidFill>
                <a:srgbClr val="FFFFFF"/>
              </a:solidFill>
              <a:latin typeface="Roboto Slab" pitchFamily="2" charset="0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Log in at: </a:t>
            </a:r>
            <a:r>
              <a:rPr lang="en-US" b="1" dirty="0">
                <a:solidFill>
                  <a:schemeClr val="accent3"/>
                </a:solidFill>
              </a:rPr>
              <a:t>myap.collegeboard.org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2477D8-838C-4F6C-86A0-6C89FB0B41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70326" y="1944826"/>
            <a:ext cx="5490710" cy="370993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72156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700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Scroll to see your classes and access </a:t>
            </a:r>
            <a:r>
              <a:rPr lang="en-US" b="1" dirty="0"/>
              <a:t>AP Classroom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6A45313-C54B-4839-9783-AD3E460178C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5385"/>
          <a:stretch/>
        </p:blipFill>
        <p:spPr>
          <a:xfrm>
            <a:off x="1300453" y="1866666"/>
            <a:ext cx="6878050" cy="3848789"/>
          </a:xfrm>
          <a:prstGeom prst="rect">
            <a:avLst/>
          </a:prstGeom>
          <a:ln>
            <a:solidFill>
              <a:schemeClr val="bg1">
                <a:lumMod val="9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8369E629-4C06-46EF-9EDD-A3A3CF3A89A8}"/>
              </a:ext>
            </a:extLst>
          </p:cNvPr>
          <p:cNvSpPr/>
          <p:nvPr/>
        </p:nvSpPr>
        <p:spPr>
          <a:xfrm>
            <a:off x="7286925" y="2745943"/>
            <a:ext cx="1307360" cy="326393"/>
          </a:xfrm>
          <a:prstGeom prst="wedgeRectCallout">
            <a:avLst>
              <a:gd name="adj1" fmla="val -21653"/>
              <a:gd name="adj2" fmla="val -106484"/>
            </a:avLst>
          </a:prstGeom>
          <a:solidFill>
            <a:srgbClr val="CCFFCC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r>
              <a:rPr lang="en-US" sz="1500" b="1" dirty="0">
                <a:solidFill>
                  <a:srgbClr val="008000"/>
                </a:solidFill>
                <a:latin typeface="+mj-lt"/>
              </a:rPr>
              <a:t>Click here</a:t>
            </a:r>
          </a:p>
        </p:txBody>
      </p:sp>
    </p:spTree>
    <p:extLst>
      <p:ext uri="{BB962C8B-B14F-4D97-AF65-F5344CB8AC3E}">
        <p14:creationId xmlns:p14="http://schemas.microsoft.com/office/powerpoint/2010/main" val="14411944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55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700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Click to access </a:t>
            </a:r>
            <a:r>
              <a:rPr lang="en-US" b="1" dirty="0"/>
              <a:t>AP Live classes </a:t>
            </a:r>
            <a:r>
              <a:rPr lang="en-US" dirty="0"/>
              <a:t>or </a:t>
            </a:r>
            <a:r>
              <a:rPr lang="en-US" b="1" dirty="0"/>
              <a:t>Optional Practice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4CB1A1-90E0-44BB-A1CE-F3B98F0CE24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6225" b="8080"/>
          <a:stretch/>
        </p:blipFill>
        <p:spPr>
          <a:xfrm>
            <a:off x="821221" y="1891237"/>
            <a:ext cx="7988921" cy="383377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8369E629-4C06-46EF-9EDD-A3A3CF3A89A8}"/>
              </a:ext>
            </a:extLst>
          </p:cNvPr>
          <p:cNvSpPr/>
          <p:nvPr/>
        </p:nvSpPr>
        <p:spPr>
          <a:xfrm>
            <a:off x="1889004" y="4010436"/>
            <a:ext cx="1507989" cy="567953"/>
          </a:xfrm>
          <a:prstGeom prst="wedgeRectCallout">
            <a:avLst>
              <a:gd name="adj1" fmla="val -21653"/>
              <a:gd name="adj2" fmla="val -82831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 fontScale="85000" lnSpcReduction="20000"/>
          </a:bodyPr>
          <a:lstStyle/>
          <a:p>
            <a:pPr algn="ctr"/>
            <a:r>
              <a:rPr lang="en-US" sz="1500" b="1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Click here for Optional Student Practice</a:t>
            </a: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4751F1CF-A86D-49F9-B9A4-E51D8E123E73}"/>
              </a:ext>
            </a:extLst>
          </p:cNvPr>
          <p:cNvSpPr/>
          <p:nvPr/>
        </p:nvSpPr>
        <p:spPr>
          <a:xfrm>
            <a:off x="2957039" y="2447182"/>
            <a:ext cx="1507989" cy="567953"/>
          </a:xfrm>
          <a:prstGeom prst="wedgeRectCallout">
            <a:avLst>
              <a:gd name="adj1" fmla="val -21653"/>
              <a:gd name="adj2" fmla="val 79433"/>
            </a:avLst>
          </a:prstGeom>
          <a:solidFill>
            <a:srgbClr val="FFCCCC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 fontScale="85000" lnSpcReduction="20000"/>
          </a:bodyPr>
          <a:lstStyle/>
          <a:p>
            <a:pPr algn="ctr"/>
            <a:r>
              <a:rPr lang="en-US" sz="1500" b="1" dirty="0">
                <a:solidFill>
                  <a:srgbClr val="C00000"/>
                </a:solidFill>
                <a:latin typeface="+mj-lt"/>
              </a:rPr>
              <a:t>Click here AP Live classes on YouTube</a:t>
            </a:r>
          </a:p>
        </p:txBody>
      </p:sp>
    </p:spTree>
    <p:extLst>
      <p:ext uri="{BB962C8B-B14F-4D97-AF65-F5344CB8AC3E}">
        <p14:creationId xmlns:p14="http://schemas.microsoft.com/office/powerpoint/2010/main" val="42617050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79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700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Click </a:t>
            </a:r>
            <a:r>
              <a:rPr lang="en-US" b="1" dirty="0"/>
              <a:t>Begin </a:t>
            </a:r>
            <a:r>
              <a:rPr lang="en-US" dirty="0"/>
              <a:t>or</a:t>
            </a:r>
            <a:r>
              <a:rPr lang="en-US" b="1" dirty="0"/>
              <a:t> Continue </a:t>
            </a:r>
            <a:r>
              <a:rPr lang="en-US" dirty="0"/>
              <a:t>to start a question 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79D055-2A3D-49C0-A789-2A7CB8171B9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7922" y="1857814"/>
            <a:ext cx="7415518" cy="387129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96B410B7-9DDE-447A-87AE-1C494CFEDEA5}"/>
              </a:ext>
            </a:extLst>
          </p:cNvPr>
          <p:cNvSpPr/>
          <p:nvPr/>
        </p:nvSpPr>
        <p:spPr>
          <a:xfrm>
            <a:off x="8047766" y="3737225"/>
            <a:ext cx="1307360" cy="326393"/>
          </a:xfrm>
          <a:prstGeom prst="wedgeRectCallout">
            <a:avLst>
              <a:gd name="adj1" fmla="val -63456"/>
              <a:gd name="adj2" fmla="val 24843"/>
            </a:avLst>
          </a:prstGeom>
          <a:solidFill>
            <a:srgbClr val="CCFFCC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r>
              <a:rPr lang="en-US" sz="1500" b="1" dirty="0">
                <a:solidFill>
                  <a:srgbClr val="008000"/>
                </a:solidFill>
                <a:latin typeface="+mj-lt"/>
              </a:rPr>
              <a:t>Click here</a:t>
            </a:r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B0A27A5C-7E6B-4F76-84CC-2AD7B8920261}"/>
              </a:ext>
            </a:extLst>
          </p:cNvPr>
          <p:cNvSpPr/>
          <p:nvPr/>
        </p:nvSpPr>
        <p:spPr>
          <a:xfrm>
            <a:off x="8047765" y="4602120"/>
            <a:ext cx="1307360" cy="326393"/>
          </a:xfrm>
          <a:prstGeom prst="wedgeRectCallout">
            <a:avLst>
              <a:gd name="adj1" fmla="val -63456"/>
              <a:gd name="adj2" fmla="val 24843"/>
            </a:avLst>
          </a:prstGeom>
          <a:solidFill>
            <a:srgbClr val="CCFFCC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r>
              <a:rPr lang="en-US" sz="1500" b="1" dirty="0">
                <a:solidFill>
                  <a:srgbClr val="008000"/>
                </a:solidFill>
                <a:latin typeface="+mj-lt"/>
              </a:rPr>
              <a:t>Click here</a:t>
            </a:r>
          </a:p>
        </p:txBody>
      </p:sp>
    </p:spTree>
    <p:extLst>
      <p:ext uri="{BB962C8B-B14F-4D97-AF65-F5344CB8AC3E}">
        <p14:creationId xmlns:p14="http://schemas.microsoft.com/office/powerpoint/2010/main" val="37539970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03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700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Type or upload your response. Then, click </a:t>
            </a:r>
            <a:r>
              <a:rPr lang="en-US" b="1" dirty="0"/>
              <a:t>Submit</a:t>
            </a:r>
            <a:r>
              <a:rPr lang="en-US" dirty="0"/>
              <a:t>.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D75799-FA91-4E25-A1B5-42431D1CB4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8409" y="1787114"/>
            <a:ext cx="8562138" cy="397366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C5014C08-1BBA-4F3D-BB18-13785E578300}"/>
              </a:ext>
            </a:extLst>
          </p:cNvPr>
          <p:cNvSpPr/>
          <p:nvPr/>
        </p:nvSpPr>
        <p:spPr>
          <a:xfrm>
            <a:off x="7126184" y="4396217"/>
            <a:ext cx="1403803" cy="478716"/>
          </a:xfrm>
          <a:prstGeom prst="wedgeRectCallout">
            <a:avLst>
              <a:gd name="adj1" fmla="val -45295"/>
              <a:gd name="adj2" fmla="val 119090"/>
            </a:avLst>
          </a:prstGeom>
          <a:solidFill>
            <a:srgbClr val="CCFFCC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 lnSpcReduction="10000"/>
          </a:bodyPr>
          <a:lstStyle/>
          <a:p>
            <a:pPr algn="ctr"/>
            <a:r>
              <a:rPr lang="en-US" sz="1500" b="1" dirty="0">
                <a:solidFill>
                  <a:srgbClr val="008000"/>
                </a:solidFill>
                <a:latin typeface="+mj-lt"/>
              </a:rPr>
              <a:t>Enter your response here</a:t>
            </a:r>
          </a:p>
        </p:txBody>
      </p: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267A0CBB-232C-4D75-BF95-6980058BBA43}"/>
              </a:ext>
            </a:extLst>
          </p:cNvPr>
          <p:cNvSpPr/>
          <p:nvPr/>
        </p:nvSpPr>
        <p:spPr>
          <a:xfrm>
            <a:off x="6950856" y="2966215"/>
            <a:ext cx="1507989" cy="829902"/>
          </a:xfrm>
          <a:prstGeom prst="wedgeRectCallout">
            <a:avLst>
              <a:gd name="adj1" fmla="val 61489"/>
              <a:gd name="adj2" fmla="val -21958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r>
              <a:rPr lang="en-US" sz="1500" b="1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Click submit when you are finished</a:t>
            </a:r>
          </a:p>
        </p:txBody>
      </p:sp>
    </p:spTree>
    <p:extLst>
      <p:ext uri="{BB962C8B-B14F-4D97-AF65-F5344CB8AC3E}">
        <p14:creationId xmlns:p14="http://schemas.microsoft.com/office/powerpoint/2010/main" val="7572561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2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700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Click </a:t>
            </a:r>
            <a:r>
              <a:rPr lang="en-US" b="1" dirty="0"/>
              <a:t>Yes </a:t>
            </a:r>
            <a:r>
              <a:rPr lang="en-US" dirty="0"/>
              <a:t>to continue to submit your response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B816A7B-FB41-4E00-B53B-7F8DFD7070D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2328" y="1810327"/>
            <a:ext cx="8506707" cy="395754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860233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700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Click </a:t>
            </a:r>
            <a:r>
              <a:rPr lang="en-US" b="1" dirty="0"/>
              <a:t>Yes, Review </a:t>
            </a:r>
            <a:r>
              <a:rPr lang="en-US" dirty="0"/>
              <a:t>to see Scoring Guidelines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A439BB8-18FD-4CA2-A85B-43F0353D9A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7822" y="1778744"/>
            <a:ext cx="8615718" cy="400762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377517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4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INTRODUCTION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71549"/>
            <a:ext cx="9087089" cy="53790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Presenter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rendan Murph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John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ps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Memorial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ngor, 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Luke Wilco</a:t>
            </a:r>
            <a:r>
              <a:rPr lang="en-US" sz="2000" dirty="0">
                <a:solidFill>
                  <a:srgbClr val="1E1E1E"/>
                </a:solidFill>
                <a:latin typeface="Roboto"/>
              </a:rPr>
              <a:t>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East Kentwood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Kentwood, MI</a:t>
            </a:r>
          </a:p>
          <a:p>
            <a:pPr lvl="0">
              <a:defRPr/>
            </a:pPr>
            <a:r>
              <a:rPr lang="en-US" sz="1400" dirty="0">
                <a:hlinkClick r:id="rId8"/>
              </a:rPr>
              <a:t>www.statsmedic.com/youtub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BEDB5591-C30A-3E43-8E5D-395326DD8E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1756" y="2677736"/>
            <a:ext cx="1236858" cy="1848613"/>
          </a:xfrm>
          <a:prstGeom prst="rect">
            <a:avLst/>
          </a:prstGeom>
        </p:spPr>
      </p:pic>
      <p:pic>
        <p:nvPicPr>
          <p:cNvPr id="6" name="Picture 5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id="{5672A44F-C63E-5548-9356-3697B8127F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31756" y="4880164"/>
            <a:ext cx="1236859" cy="1732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3803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75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700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Scroll down to see Scoring Guidelines for each part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33D9D95-E529-467D-B5B8-3FC112868F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0826" y="1772360"/>
            <a:ext cx="8629710" cy="399169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0B6D17A9-C05B-43B4-8974-6497E0B61F3B}"/>
              </a:ext>
            </a:extLst>
          </p:cNvPr>
          <p:cNvSpPr/>
          <p:nvPr/>
        </p:nvSpPr>
        <p:spPr>
          <a:xfrm>
            <a:off x="6429640" y="4031871"/>
            <a:ext cx="2303955" cy="1168051"/>
          </a:xfrm>
          <a:prstGeom prst="wedgeRectCallout">
            <a:avLst>
              <a:gd name="adj1" fmla="val -68064"/>
              <a:gd name="adj2" fmla="val -20284"/>
            </a:avLst>
          </a:prstGeom>
          <a:solidFill>
            <a:srgbClr val="CCFFCC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 lnSpcReduction="10000"/>
          </a:bodyPr>
          <a:lstStyle/>
          <a:p>
            <a:pPr algn="ctr"/>
            <a:r>
              <a:rPr lang="en-US" sz="1500" b="1" dirty="0">
                <a:solidFill>
                  <a:srgbClr val="008000"/>
                </a:solidFill>
                <a:latin typeface="+mj-lt"/>
              </a:rPr>
              <a:t>Review to see examples of what a response should include to earn the maximum number </a:t>
            </a:r>
            <a:br>
              <a:rPr lang="en-US" sz="1500" b="1" dirty="0">
                <a:solidFill>
                  <a:srgbClr val="008000"/>
                </a:solidFill>
                <a:latin typeface="+mj-lt"/>
              </a:rPr>
            </a:br>
            <a:r>
              <a:rPr lang="en-US" sz="1500" b="1" dirty="0">
                <a:solidFill>
                  <a:srgbClr val="008000"/>
                </a:solidFill>
                <a:latin typeface="+mj-lt"/>
              </a:rPr>
              <a:t>of points</a:t>
            </a:r>
          </a:p>
        </p:txBody>
      </p:sp>
    </p:spTree>
    <p:extLst>
      <p:ext uri="{BB962C8B-B14F-4D97-AF65-F5344CB8AC3E}">
        <p14:creationId xmlns:p14="http://schemas.microsoft.com/office/powerpoint/2010/main" val="37669844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99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700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Revise, then click </a:t>
            </a:r>
            <a:r>
              <a:rPr lang="en-US" b="1"/>
              <a:t>Submit </a:t>
            </a:r>
            <a:r>
              <a:rPr lang="en-US"/>
              <a:t>&amp; </a:t>
            </a:r>
            <a:r>
              <a:rPr lang="en-US" b="1" dirty="0"/>
              <a:t>No, Submit Now </a:t>
            </a:r>
            <a:r>
              <a:rPr lang="en-US" dirty="0"/>
              <a:t>to finish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881DF3B-CF9D-4573-A75B-06B2C802F3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6706" y="1833747"/>
            <a:ext cx="8437950" cy="394484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748091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5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D65B2D3F-CE44-4EE4-97E4-1C0F5180AB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-1"/>
            <a:ext cx="9630833" cy="722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1893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3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HOMEWORK REVIE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61661"/>
            <a:ext cx="9087089" cy="587150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8B10130-0424-574C-BF38-B4B31C54E0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5820" y="1118115"/>
            <a:ext cx="7854484" cy="5758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7794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00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UPDATES FOR STUDENTS/TEACH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49629"/>
            <a:ext cx="9087089" cy="54098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>
              <a:defRPr/>
            </a:pPr>
            <a:r>
              <a:rPr lang="en-US" sz="2000" dirty="0">
                <a:hlinkClick r:id="rId8" tooltip="Original URL:&#10;http://collegeboard.org/ap-covid19-updates&#10;&#10;Click to follow link."/>
              </a:rPr>
              <a:t>http://collegeboard.org/ap-covid19-updates</a:t>
            </a: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endParaRPr lang="en-US" sz="2000" dirty="0"/>
          </a:p>
          <a:p>
            <a:pPr algn="ctr"/>
            <a:r>
              <a:rPr lang="en-US" sz="2000" dirty="0">
                <a:hlinkClick r:id="rId9"/>
              </a:rPr>
              <a:t>https://apstudents.collegeboard.org/coronavirus-update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>
              <a:defRPr/>
            </a:pPr>
            <a:r>
              <a:rPr lang="en-US" sz="2000" dirty="0">
                <a:solidFill>
                  <a:srgbClr val="1E1E1E"/>
                </a:solidFill>
                <a:hlinkClick r:id="rId10"/>
              </a:rPr>
              <a:t>https://apcoronavirusupdates.collegeboard.org/educators/course-schedule</a:t>
            </a:r>
            <a:endParaRPr lang="en-US" sz="2000" dirty="0">
              <a:solidFill>
                <a:srgbClr val="1E1E1E"/>
              </a:solidFill>
            </a:endParaRPr>
          </a:p>
          <a:p>
            <a:pPr lvl="0">
              <a:defRPr/>
            </a:pPr>
            <a:endParaRPr lang="en-US" sz="2000" dirty="0">
              <a:solidFill>
                <a:srgbClr val="1E1E1E"/>
              </a:solidFill>
            </a:endParaRPr>
          </a:p>
          <a:p>
            <a:pPr lvl="0" algn="ctr">
              <a:defRPr/>
            </a:pPr>
            <a:r>
              <a:rPr lang="en-US" sz="2000" dirty="0">
                <a:solidFill>
                  <a:srgbClr val="1E1E1E"/>
                </a:solidFill>
              </a:rPr>
              <a:t>Scroll down to Math And Science, click on AP Statistics, Expand </a:t>
            </a:r>
            <a:r>
              <a:rPr lang="en-US" sz="2000" dirty="0">
                <a:solidFill>
                  <a:srgbClr val="1E1E1E"/>
                </a:solidFill>
                <a:latin typeface="Roboto"/>
              </a:rPr>
              <a:t>A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92476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5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9796145-68C9-4F8B-AFC1-B16652D2BA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488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823247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878151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 – COMMON STUDENT ERRO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31069" y="1489108"/>
            <a:ext cx="8905698" cy="54098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r>
              <a:rPr lang="en-US" dirty="0"/>
              <a:t>Exploratory Data Analysis (EDA)</a:t>
            </a:r>
          </a:p>
          <a:p>
            <a:endParaRPr lang="en-US" dirty="0"/>
          </a:p>
          <a:p>
            <a:r>
              <a:rPr lang="en-US" dirty="0"/>
              <a:t>1. When asked to compare two data sets/distributions students list the key</a:t>
            </a:r>
          </a:p>
          <a:p>
            <a:r>
              <a:rPr lang="en-US" dirty="0"/>
              <a:t>statistics, but do not actually compare them (</a:t>
            </a:r>
            <a:r>
              <a:rPr lang="en-US" dirty="0" err="1"/>
              <a:t>ie</a:t>
            </a:r>
            <a:r>
              <a:rPr lang="en-US" dirty="0"/>
              <a:t> A is greater than B).</a:t>
            </a:r>
          </a:p>
          <a:p>
            <a:r>
              <a:rPr lang="en-US" dirty="0"/>
              <a:t>2. When writing out the LSRL, they forget to write y hat and identify the</a:t>
            </a:r>
          </a:p>
          <a:p>
            <a:r>
              <a:rPr lang="en-US" dirty="0"/>
              <a:t>variables.</a:t>
            </a:r>
          </a:p>
          <a:p>
            <a:r>
              <a:rPr lang="en-US" dirty="0"/>
              <a:t>3. Students should always comment on at least shape, center, spread of a</a:t>
            </a:r>
          </a:p>
          <a:p>
            <a:r>
              <a:rPr lang="en-US" dirty="0"/>
              <a:t>distribution. Outliers if they exist should also be mentioned.</a:t>
            </a:r>
          </a:p>
          <a:p>
            <a:r>
              <a:rPr lang="en-US" dirty="0"/>
              <a:t>4. Show all your work when calculating a z-score (any math for that matter).</a:t>
            </a:r>
          </a:p>
          <a:p>
            <a:r>
              <a:rPr lang="en-US" dirty="0"/>
              <a:t>5. Writing too much on a FRQ answer, especially on the EDA question. Students</a:t>
            </a:r>
          </a:p>
          <a:p>
            <a:r>
              <a:rPr lang="en-US" dirty="0"/>
              <a:t>list all the stats they learned and don’t always answer the question asked.</a:t>
            </a:r>
          </a:p>
          <a:p>
            <a:r>
              <a:rPr lang="en-US" dirty="0"/>
              <a:t>Short and sweet, answer the questions asked in context and then move on.</a:t>
            </a:r>
          </a:p>
          <a:p>
            <a:r>
              <a:rPr lang="en-US" dirty="0"/>
              <a:t>No extra credit is given for added work.</a:t>
            </a:r>
          </a:p>
          <a:p>
            <a:r>
              <a:rPr lang="en-US" dirty="0"/>
              <a:t>6. Not understanding how/why we transform data to make “it look linear” and</a:t>
            </a:r>
          </a:p>
          <a:p>
            <a:r>
              <a:rPr lang="en-US" dirty="0"/>
              <a:t>then interpreting the “new LSRL”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2400" dirty="0">
              <a:solidFill>
                <a:srgbClr val="1E1E1E"/>
              </a:solidFill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1394872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4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878151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 – COMMON STUDENT ERRO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31069" y="1489108"/>
            <a:ext cx="8905698" cy="54098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r>
              <a:rPr lang="en-US" dirty="0"/>
              <a:t>Experimental Design</a:t>
            </a:r>
          </a:p>
          <a:p>
            <a:endParaRPr lang="en-US" dirty="0"/>
          </a:p>
          <a:p>
            <a:r>
              <a:rPr lang="en-US" dirty="0"/>
              <a:t>1. Students do not understand much of the vocabulary in this thread and use</a:t>
            </a:r>
          </a:p>
          <a:p>
            <a:r>
              <a:rPr lang="en-US" dirty="0"/>
              <a:t>these words/concepts incorrectly.</a:t>
            </a:r>
          </a:p>
          <a:p>
            <a:r>
              <a:rPr lang="en-US" dirty="0"/>
              <a:t>2. Not explaining how they randomized the data, just stating that they</a:t>
            </a:r>
          </a:p>
          <a:p>
            <a:r>
              <a:rPr lang="en-US" dirty="0"/>
              <a:t>randomly put the data into two groups.</a:t>
            </a:r>
          </a:p>
          <a:p>
            <a:r>
              <a:rPr lang="en-US" dirty="0"/>
              <a:t>3. Confusing causation with statistically significant results.</a:t>
            </a:r>
          </a:p>
          <a:p>
            <a:r>
              <a:rPr lang="en-US" dirty="0"/>
              <a:t>4. Completely randomized designs vs other randomized designs, such as a</a:t>
            </a:r>
          </a:p>
          <a:p>
            <a:r>
              <a:rPr lang="en-US" dirty="0"/>
              <a:t>randomized block design.</a:t>
            </a:r>
          </a:p>
          <a:p>
            <a:r>
              <a:rPr lang="en-US" dirty="0"/>
              <a:t>5. Students confuse control groups with controlling outside variables entering</a:t>
            </a:r>
          </a:p>
          <a:p>
            <a:r>
              <a:rPr lang="en-US" dirty="0"/>
              <a:t>into the experiment.</a:t>
            </a:r>
          </a:p>
          <a:p>
            <a:r>
              <a:rPr lang="en-US" dirty="0"/>
              <a:t>6. Stating the experiment cannot be double blind because “somebody needs to</a:t>
            </a:r>
          </a:p>
          <a:p>
            <a:r>
              <a:rPr lang="en-US" dirty="0"/>
              <a:t>know what is going on in the experiment”.</a:t>
            </a:r>
          </a:p>
          <a:p>
            <a:r>
              <a:rPr lang="en-US" dirty="0"/>
              <a:t>7. Using complicated methods that are hard to explain for their randomization</a:t>
            </a:r>
          </a:p>
          <a:p>
            <a:r>
              <a:rPr lang="en-US" dirty="0"/>
              <a:t>method. Put the names in a hat and shake them up works and it’s easy to</a:t>
            </a:r>
          </a:p>
          <a:p>
            <a:r>
              <a:rPr lang="en-US" dirty="0"/>
              <a:t>explain.</a:t>
            </a:r>
          </a:p>
          <a:p>
            <a:r>
              <a:rPr lang="en-US" dirty="0"/>
              <a:t>8. Confusing confounding and lurking variables. Lurking variables are not in the</a:t>
            </a:r>
          </a:p>
          <a:p>
            <a:r>
              <a:rPr lang="en-US" dirty="0"/>
              <a:t>curriculum and it may be better not even to mention this concept.</a:t>
            </a:r>
          </a:p>
          <a:p>
            <a:endParaRPr lang="en-US" sz="2400" dirty="0">
              <a:solidFill>
                <a:srgbClr val="1E1E1E"/>
              </a:solidFill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9427669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6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878151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 – COMMON STUDENT ERRO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31069" y="1489108"/>
            <a:ext cx="8905698" cy="54098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r>
              <a:rPr lang="en-US" dirty="0"/>
              <a:t>Probability</a:t>
            </a:r>
          </a:p>
          <a:p>
            <a:endParaRPr lang="en-US" dirty="0"/>
          </a:p>
          <a:p>
            <a:r>
              <a:rPr lang="en-US" dirty="0"/>
              <a:t>1. Not showing any work, just writing out an answer/probability from a 2-way</a:t>
            </a:r>
          </a:p>
          <a:p>
            <a:r>
              <a:rPr lang="en-US" dirty="0"/>
              <a:t>table.</a:t>
            </a:r>
          </a:p>
          <a:p>
            <a:r>
              <a:rPr lang="en-US" dirty="0"/>
              <a:t>2. Not showing any work for independence of variables, just commenting on</a:t>
            </a:r>
          </a:p>
          <a:p>
            <a:r>
              <a:rPr lang="en-US" dirty="0"/>
              <a:t>there independence because they are/are not related.</a:t>
            </a:r>
          </a:p>
          <a:p>
            <a:r>
              <a:rPr lang="en-US" dirty="0"/>
              <a:t>3. Using calculator speak for their work, not proper statistical formulas.</a:t>
            </a:r>
          </a:p>
          <a:p>
            <a:r>
              <a:rPr lang="en-US" dirty="0"/>
              <a:t>4. Not putting their final answers in sentences/context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2400" dirty="0">
              <a:solidFill>
                <a:srgbClr val="1E1E1E"/>
              </a:solidFill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5096317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9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878151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 – COMMON STUDENT ERRO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31069" y="1489108"/>
            <a:ext cx="8905698" cy="54098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r>
              <a:rPr lang="en-US" dirty="0"/>
              <a:t>Statistical Inference</a:t>
            </a:r>
          </a:p>
          <a:p>
            <a:endParaRPr lang="en-US" dirty="0"/>
          </a:p>
          <a:p>
            <a:r>
              <a:rPr lang="en-US" dirty="0"/>
              <a:t>1. Students do not list assumptions, check conditions nor understand why they</a:t>
            </a:r>
          </a:p>
          <a:p>
            <a:r>
              <a:rPr lang="en-US" dirty="0"/>
              <a:t>need to do this.</a:t>
            </a:r>
          </a:p>
          <a:p>
            <a:r>
              <a:rPr lang="en-US" dirty="0"/>
              <a:t>2. Not showing a graph to check for normality when data is given.</a:t>
            </a:r>
          </a:p>
          <a:p>
            <a:r>
              <a:rPr lang="en-US" dirty="0"/>
              <a:t>3. Not showing their work/set-up and just stating their final answers from</a:t>
            </a:r>
          </a:p>
          <a:p>
            <a:r>
              <a:rPr lang="en-US" dirty="0"/>
              <a:t>the calculator (this is OK as long as students have correctly named the test earlier in the problem).</a:t>
            </a:r>
          </a:p>
          <a:p>
            <a:r>
              <a:rPr lang="en-US" dirty="0"/>
              <a:t>4. Not using parameters when listing the Ho, Ha</a:t>
            </a:r>
          </a:p>
          <a:p>
            <a:r>
              <a:rPr lang="en-US" dirty="0"/>
              <a:t>5. Not linking their p-value and significance level when writing their final</a:t>
            </a:r>
          </a:p>
          <a:p>
            <a:r>
              <a:rPr lang="en-US" dirty="0"/>
              <a:t>conclusion.</a:t>
            </a:r>
          </a:p>
          <a:p>
            <a:r>
              <a:rPr lang="en-US" dirty="0"/>
              <a:t>6. Reversing their conclusion when p is low, “therefore we fail to reject the Ho”.</a:t>
            </a:r>
          </a:p>
          <a:p>
            <a:r>
              <a:rPr lang="en-US" dirty="0"/>
              <a:t>7. Accepting the Ho and/or the Ha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2400" dirty="0">
              <a:solidFill>
                <a:srgbClr val="1E1E1E"/>
              </a:solidFill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2597456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m8L.R8RlOVq2qHZmp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8q40Fynz4pzQDKKama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2J.75USiTxMSUmGmj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CnRorNzR66BpEjpWQK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NphEhICvUlXYxUiFXS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-K12">
  <a:themeElements>
    <a:clrScheme name="CB-K12">
      <a:dk1>
        <a:srgbClr val="1E1E1E"/>
      </a:dk1>
      <a:lt1>
        <a:srgbClr val="DCDCDC"/>
      </a:lt1>
      <a:dk2>
        <a:srgbClr val="FFFFFF"/>
      </a:dk2>
      <a:lt2>
        <a:srgbClr val="E57200"/>
      </a:lt2>
      <a:accent1>
        <a:srgbClr val="DCDCDC"/>
      </a:accent1>
      <a:accent2>
        <a:srgbClr val="FFFFFF"/>
      </a:accent2>
      <a:accent3>
        <a:srgbClr val="009CDE"/>
      </a:accent3>
      <a:accent4>
        <a:srgbClr val="71C5E8"/>
      </a:accent4>
      <a:accent5>
        <a:srgbClr val="505050"/>
      </a:accent5>
      <a:accent6>
        <a:srgbClr val="888888"/>
      </a:accent6>
      <a:hlink>
        <a:srgbClr val="1E1E1E"/>
      </a:hlink>
      <a:folHlink>
        <a:srgbClr val="009CDE"/>
      </a:folHlink>
    </a:clrScheme>
    <a:fontScheme name="CB-K12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9050">
          <a:noFill/>
        </a:ln>
      </a:spPr>
      <a:bodyPr lIns="36000" tIns="36000" rIns="36000" bIns="36000" rtlCol="0" anchor="ctr">
        <a:normAutofit/>
      </a:bodyPr>
      <a:lstStyle>
        <a:defPPr algn="ctr">
          <a:defRPr sz="2000" b="1"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B-K12" id="{20BB08C5-25F0-46B1-9C83-860C83962183}" vid="{F6A58278-BC4E-404D-8FB5-CAEDB1199C1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D3FF447BA0B14F9CF529B5C5DF2DEA" ma:contentTypeVersion="13" ma:contentTypeDescription="Create a new document." ma:contentTypeScope="" ma:versionID="f53fde1e93389a6c4d588f42c665f492">
  <xsd:schema xmlns:xsd="http://www.w3.org/2001/XMLSchema" xmlns:xs="http://www.w3.org/2001/XMLSchema" xmlns:p="http://schemas.microsoft.com/office/2006/metadata/properties" xmlns:ns3="29290a24-c851-445c-ad00-0fdf6255719c" xmlns:ns4="e2766298-136c-439d-b755-a2db652f6339" targetNamespace="http://schemas.microsoft.com/office/2006/metadata/properties" ma:root="true" ma:fieldsID="b936630a4f4899d6b97a7e00781ba76e" ns3:_="" ns4:_="">
    <xsd:import namespace="29290a24-c851-445c-ad00-0fdf6255719c"/>
    <xsd:import namespace="e2766298-136c-439d-b755-a2db652f633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290a24-c851-445c-ad00-0fdf6255719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766298-136c-439d-b755-a2db652f63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0D94E9D-2ED9-4975-99B9-A78ABDE052B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F8710E0-2425-4A75-9D93-FD2D0C3DA9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290a24-c851-445c-ad00-0fdf6255719c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1778068-D330-49E0-B08D-DCA7AD5877A8}">
  <ds:schemaRefs>
    <ds:schemaRef ds:uri="http://purl.org/dc/terms/"/>
    <ds:schemaRef ds:uri="http://schemas.microsoft.com/office/2006/metadata/properties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29290a24-c851-445c-ad00-0fdf6255719c"/>
    <ds:schemaRef ds:uri="http://schemas.openxmlformats.org/package/2006/metadata/core-properties"/>
    <ds:schemaRef ds:uri="http://www.w3.org/XML/1998/namespace"/>
    <ds:schemaRef ds:uri="http://purl.org/dc/dcmitype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B-K12</Template>
  <TotalTime>4975</TotalTime>
  <Words>861</Words>
  <Application>Microsoft Macintosh PowerPoint</Application>
  <PresentationFormat>Custom</PresentationFormat>
  <Paragraphs>187</Paragraphs>
  <Slides>2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rial</vt:lpstr>
      <vt:lpstr>Calibri</vt:lpstr>
      <vt:lpstr>Marlett</vt:lpstr>
      <vt:lpstr>Roboto</vt:lpstr>
      <vt:lpstr>Roboto Slab</vt:lpstr>
      <vt:lpstr>Verdana</vt:lpstr>
      <vt:lpstr>CB-K12</vt:lpstr>
      <vt:lpstr>think-cell Slide</vt:lpstr>
      <vt:lpstr>PowerPoint Presentation</vt:lpstr>
      <vt:lpstr>INTRODUCTIONS</vt:lpstr>
      <vt:lpstr>HOMEWORK REVIEW</vt:lpstr>
      <vt:lpstr>UPDATES FOR STUDENTS/TEACHERS</vt:lpstr>
      <vt:lpstr>PowerPoint Presentation</vt:lpstr>
      <vt:lpstr>WHAT YOU NEED TO KNOW – COMMON STUDENT ERRORS</vt:lpstr>
      <vt:lpstr>WHAT YOU NEED TO KNOW – COMMON STUDENT ERRORS</vt:lpstr>
      <vt:lpstr>WHAT YOU NEED TO KNOW – COMMON STUDENT ERRORS</vt:lpstr>
      <vt:lpstr>WHAT YOU NEED TO KNOW – COMMON STUDENT ERRORS</vt:lpstr>
      <vt:lpstr>PowerPoint Presentation</vt:lpstr>
      <vt:lpstr>DEBRIEF AND SUMMARY</vt:lpstr>
      <vt:lpstr>2002 Multiple Choice #24 Homework Problem  Wednesday 04/29</vt:lpstr>
      <vt:lpstr>Log in at: myap.collegeboard.org</vt:lpstr>
      <vt:lpstr>Scroll to see your classes and access AP Classroom</vt:lpstr>
      <vt:lpstr>Click to access AP Live classes or Optional Practice</vt:lpstr>
      <vt:lpstr>Click Begin or Continue to start a question </vt:lpstr>
      <vt:lpstr>Type or upload your response. Then, click Submit.</vt:lpstr>
      <vt:lpstr>Click Yes to continue to submit your response</vt:lpstr>
      <vt:lpstr>Click Yes, Review to see Scoring Guidelines</vt:lpstr>
      <vt:lpstr>Scroll down to see Scoring Guidelines for each part</vt:lpstr>
      <vt:lpstr>Revise, then click Submit &amp; No, Submit Now to finish</vt:lpstr>
      <vt:lpstr>PowerPoint Presentation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B-K12</dc:title>
  <dc:creator>College Board</dc:creator>
  <cp:lastModifiedBy>Brendan Murphy</cp:lastModifiedBy>
  <cp:revision>126</cp:revision>
  <dcterms:created xsi:type="dcterms:W3CDTF">2019-04-30T21:25:41Z</dcterms:created>
  <dcterms:modified xsi:type="dcterms:W3CDTF">2020-04-29T09:39:09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D3FF447BA0B14F9CF529B5C5DF2DEA</vt:lpwstr>
  </property>
</Properties>
</file>